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0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29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45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ADVANCED FRAMEWORK DESIGN (AF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6525" y="1210330"/>
            <a:ext cx="10781220" cy="33972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Speed design and improve the accuracy of structural framework assemblies</a:t>
            </a:r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18116" y="1622471"/>
            <a:ext cx="3124926" cy="4892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14AA6F6-C62A-4964-A1C1-D8A24FB4ED20}"/>
              </a:ext>
            </a:extLst>
          </p:cNvPr>
          <p:cNvSpPr/>
          <p:nvPr/>
        </p:nvSpPr>
        <p:spPr>
          <a:xfrm>
            <a:off x="495300" y="1863859"/>
            <a:ext cx="1510147" cy="5851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0E236AF-187D-4ED2-A82C-637B149FB441}"/>
              </a:ext>
            </a:extLst>
          </p:cNvPr>
          <p:cNvSpPr/>
          <p:nvPr/>
        </p:nvSpPr>
        <p:spPr>
          <a:xfrm>
            <a:off x="2146155" y="1863859"/>
            <a:ext cx="5232076" cy="5851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All customers that create structural framework assemblies for building structures, machinery and assembly lines</a:t>
            </a:r>
            <a:endParaRPr lang="en-GB" sz="14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4155B9-9247-4854-AFA6-556C1D12F9FA}"/>
              </a:ext>
            </a:extLst>
          </p:cNvPr>
          <p:cNvSpPr/>
          <p:nvPr/>
        </p:nvSpPr>
        <p:spPr>
          <a:xfrm>
            <a:off x="495300" y="2523439"/>
            <a:ext cx="1510147" cy="773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5B58AE-83FD-4C9F-80C8-9F62D3387387}"/>
              </a:ext>
            </a:extLst>
          </p:cNvPr>
          <p:cNvSpPr/>
          <p:nvPr/>
        </p:nvSpPr>
        <p:spPr>
          <a:xfrm>
            <a:off x="2146157" y="2523439"/>
            <a:ext cx="4077033" cy="7733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43070A-C9CE-4BC0-9697-D47FD18B65D2}"/>
              </a:ext>
            </a:extLst>
          </p:cNvPr>
          <p:cNvSpPr/>
          <p:nvPr/>
        </p:nvSpPr>
        <p:spPr>
          <a:xfrm>
            <a:off x="495300" y="3380850"/>
            <a:ext cx="1510147" cy="7762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C9FEA66-C51C-4552-A938-515B1C690941}"/>
              </a:ext>
            </a:extLst>
          </p:cNvPr>
          <p:cNvSpPr/>
          <p:nvPr/>
        </p:nvSpPr>
        <p:spPr>
          <a:xfrm>
            <a:off x="2146154" y="3380850"/>
            <a:ext cx="4077035" cy="7762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ructural framework desig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ener assembly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Weldment desig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E9D3A80-9F07-4DF9-907F-24C723FC4461}"/>
              </a:ext>
            </a:extLst>
          </p:cNvPr>
          <p:cNvSpPr/>
          <p:nvPr/>
        </p:nvSpPr>
        <p:spPr>
          <a:xfrm>
            <a:off x="495300" y="4241192"/>
            <a:ext cx="1510147" cy="20116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F296647-D326-4950-A0CE-7042D9460C71}"/>
              </a:ext>
            </a:extLst>
          </p:cNvPr>
          <p:cNvSpPr/>
          <p:nvPr/>
        </p:nvSpPr>
        <p:spPr>
          <a:xfrm>
            <a:off x="2146155" y="4241192"/>
            <a:ext cx="4296954" cy="22525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tuitive, easy to use process driven UI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ully integrated modeling, framework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mprehensive and customizable libraries of profiles, joints, connections and equipmen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beam placement and creation of framework geometry (e.g., joints, connections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BOMs, production drawings and fabrication data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D075F88-E3F0-4116-9B67-2C46017B3D6A}"/>
              </a:ext>
            </a:extLst>
          </p:cNvPr>
          <p:cNvCxnSpPr>
            <a:cxnSpLocks/>
          </p:cNvCxnSpPr>
          <p:nvPr/>
        </p:nvCxnSpPr>
        <p:spPr>
          <a:xfrm>
            <a:off x="2102432" y="1863861"/>
            <a:ext cx="0" cy="5851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F7A1DAB-B758-4540-A592-9C6D36A4F0CD}"/>
              </a:ext>
            </a:extLst>
          </p:cNvPr>
          <p:cNvCxnSpPr>
            <a:cxnSpLocks/>
          </p:cNvCxnSpPr>
          <p:nvPr/>
        </p:nvCxnSpPr>
        <p:spPr>
          <a:xfrm>
            <a:off x="2102432" y="2523437"/>
            <a:ext cx="0" cy="77334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803969A-7A34-4051-AB82-33B3FC3CB7FA}"/>
              </a:ext>
            </a:extLst>
          </p:cNvPr>
          <p:cNvCxnSpPr>
            <a:cxnSpLocks/>
          </p:cNvCxnSpPr>
          <p:nvPr/>
        </p:nvCxnSpPr>
        <p:spPr>
          <a:xfrm>
            <a:off x="2102432" y="3380848"/>
            <a:ext cx="0" cy="77627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42F7C84-B22D-41F3-B375-76910A5AE731}"/>
              </a:ext>
            </a:extLst>
          </p:cNvPr>
          <p:cNvCxnSpPr>
            <a:cxnSpLocks/>
          </p:cNvCxnSpPr>
          <p:nvPr/>
        </p:nvCxnSpPr>
        <p:spPr>
          <a:xfrm>
            <a:off x="2102432" y="4241191"/>
            <a:ext cx="0" cy="20116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BBA49D0A-9A81-4DCE-87DB-12CE070732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5535" y="1908927"/>
            <a:ext cx="1672807" cy="4319719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62AEEEC-833C-4E11-B4ED-0B2FCFFE9FE1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E8EAED"/>
              </a:clrFrom>
              <a:clrTo>
                <a:srgbClr val="E8EAE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48505" y="2724871"/>
            <a:ext cx="3894221" cy="281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5937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118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ADVANCED FRAMEWORK DESIGN (AF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10:1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